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6"/>
  </p:notesMasterIdLst>
  <p:sldIdLst>
    <p:sldId id="397" r:id="rId2"/>
    <p:sldId id="399" r:id="rId3"/>
    <p:sldId id="392" r:id="rId4"/>
    <p:sldId id="400" r:id="rId5"/>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AC3B66-4E22-4FC2-94B2-AB032479EC4A}" v="3" dt="2023-09-12T18:02:32.68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varScale="1">
        <p:scale>
          <a:sx n="106" d="100"/>
          <a:sy n="106" d="100"/>
        </p:scale>
        <p:origin x="168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12" Type="http://schemas.microsoft.com/office/2015/10/relationships/revisionInfo" Target="revisionInfo.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microsoft.com/office/2016/11/relationships/changesInfo" Target="changesInfos/changesInfo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andon Chisnell" userId="9c5cf66864937b85" providerId="LiveId" clId="{3CAC3B66-4E22-4FC2-94B2-AB032479EC4A}"/>
    <pc:docChg chg="modSld">
      <pc:chgData name="Brandon Chisnell" userId="9c5cf66864937b85" providerId="LiveId" clId="{3CAC3B66-4E22-4FC2-94B2-AB032479EC4A}" dt="2023-09-12T18:02:32.685" v="2" actId="27918"/>
      <pc:docMkLst>
        <pc:docMk/>
      </pc:docMkLst>
      <pc:sldChg chg="mod">
        <pc:chgData name="Brandon Chisnell" userId="9c5cf66864937b85" providerId="LiveId" clId="{3CAC3B66-4E22-4FC2-94B2-AB032479EC4A}" dt="2023-09-12T18:02:32.685" v="2" actId="27918"/>
        <pc:sldMkLst>
          <pc:docMk/>
          <pc:sldMk cId="534358597" sldId="400"/>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9.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a:t>Average Water Balancing</a:t>
            </a:r>
            <a:r>
              <a:rPr lang="en-AU" b="1" baseline="0"/>
              <a:t> Market Price vs. Market Demand</a:t>
            </a:r>
            <a:endParaRPr lang="en-AU"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1"/>
          <c:tx>
            <c:strRef>
              <c:f>'What-If Analysis'!$B$14</c:f>
              <c:strCache>
                <c:ptCount val="1"/>
                <c:pt idx="0">
                  <c:v>Market Water Demand (Mega-Litres)</c:v>
                </c:pt>
              </c:strCache>
            </c:strRef>
          </c:tx>
          <c:spPr>
            <a:solidFill>
              <a:schemeClr val="tx2"/>
            </a:solidFill>
            <a:ln>
              <a:noFill/>
            </a:ln>
            <a:effectLst/>
          </c:spPr>
          <c:invertIfNegative val="0"/>
          <c:val>
            <c:numRef>
              <c:f>'What-If Analysis'!$E$14:$P$14</c:f>
              <c:numCache>
                <c:formatCode>#,##0.00</c:formatCode>
                <c:ptCount val="12"/>
                <c:pt idx="0">
                  <c:v>2283.0502472527673</c:v>
                </c:pt>
                <c:pt idx="1">
                  <c:v>2201.0592458815067</c:v>
                </c:pt>
                <c:pt idx="2">
                  <c:v>2153.3431850899528</c:v>
                </c:pt>
                <c:pt idx="3">
                  <c:v>2098.9913812617792</c:v>
                </c:pt>
                <c:pt idx="4">
                  <c:v>2200.9293289926659</c:v>
                </c:pt>
                <c:pt idx="5">
                  <c:v>2312.1995397611418</c:v>
                </c:pt>
                <c:pt idx="6">
                  <c:v>2298.1901589653967</c:v>
                </c:pt>
                <c:pt idx="7">
                  <c:v>2406.0918962111036</c:v>
                </c:pt>
                <c:pt idx="8">
                  <c:v>2127.8145432709766</c:v>
                </c:pt>
                <c:pt idx="9">
                  <c:v>2185.7997542263706</c:v>
                </c:pt>
                <c:pt idx="10">
                  <c:v>2145.7837188661065</c:v>
                </c:pt>
                <c:pt idx="11">
                  <c:v>2229.7496611442612</c:v>
                </c:pt>
              </c:numCache>
            </c:numRef>
          </c:val>
          <c:extLst>
            <c:ext xmlns:c16="http://schemas.microsoft.com/office/drawing/2014/chart" uri="{C3380CC4-5D6E-409C-BE32-E72D297353CC}">
              <c16:uniqueId val="{00000000-450E-47E8-BC0D-88AA7FA06571}"/>
            </c:ext>
          </c:extLst>
        </c:ser>
        <c:dLbls>
          <c:showLegendKey val="0"/>
          <c:showVal val="0"/>
          <c:showCatName val="0"/>
          <c:showSerName val="0"/>
          <c:showPercent val="0"/>
          <c:showBubbleSize val="0"/>
        </c:dLbls>
        <c:gapWidth val="77"/>
        <c:axId val="510375824"/>
        <c:axId val="510369920"/>
      </c:barChart>
      <c:lineChart>
        <c:grouping val="standard"/>
        <c:varyColors val="0"/>
        <c:ser>
          <c:idx val="0"/>
          <c:order val="0"/>
          <c:tx>
            <c:strRef>
              <c:f>'What-If Analysis'!$B$13</c:f>
              <c:strCache>
                <c:ptCount val="1"/>
                <c:pt idx="0">
                  <c:v>Average Water Balancing Market Price</c:v>
                </c:pt>
              </c:strCache>
            </c:strRef>
          </c:tx>
          <c:spPr>
            <a:ln w="28575" cap="rnd">
              <a:solidFill>
                <a:schemeClr val="bg2">
                  <a:lumMod val="50000"/>
                </a:schemeClr>
              </a:solidFill>
              <a:prstDash val="dash"/>
              <a:round/>
            </a:ln>
            <a:effectLst/>
          </c:spPr>
          <c:marker>
            <c:symbol val="circle"/>
            <c:size val="5"/>
            <c:spPr>
              <a:solidFill>
                <a:schemeClr val="accent1"/>
              </a:solidFill>
              <a:ln w="9525">
                <a:solidFill>
                  <a:schemeClr val="accent1"/>
                </a:solidFill>
              </a:ln>
              <a:effectLst/>
            </c:spPr>
          </c:marker>
          <c:cat>
            <c:numRef>
              <c:f>'What-If Analysis'!$E$11:$P$1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What-If Analysis'!$E$13:$P$13</c:f>
              <c:numCache>
                <c:formatCode>"$"#,##0.00_);[Red]\("$"#,##0.00\)</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smooth val="0"/>
          <c:extLst>
            <c:ext xmlns:c16="http://schemas.microsoft.com/office/drawing/2014/chart" uri="{C3380CC4-5D6E-409C-BE32-E72D297353CC}">
              <c16:uniqueId val="{00000001-450E-47E8-BC0D-88AA7FA06571}"/>
            </c:ext>
          </c:extLst>
        </c:ser>
        <c:dLbls>
          <c:showLegendKey val="0"/>
          <c:showVal val="0"/>
          <c:showCatName val="0"/>
          <c:showSerName val="0"/>
          <c:showPercent val="0"/>
          <c:showBubbleSize val="0"/>
        </c:dLbls>
        <c:marker val="1"/>
        <c:smooth val="0"/>
        <c:axId val="578324128"/>
        <c:axId val="578329376"/>
      </c:lineChart>
      <c:dateAx>
        <c:axId val="57832412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578329376"/>
        <c:crosses val="autoZero"/>
        <c:auto val="1"/>
        <c:lblOffset val="100"/>
        <c:baseTimeUnit val="months"/>
      </c:dateAx>
      <c:valAx>
        <c:axId val="578329376"/>
        <c:scaling>
          <c:orientation val="minMax"/>
        </c:scaling>
        <c:delete val="0"/>
        <c:axPos val="l"/>
        <c:numFmt formatCode="&quot;$&quot;#,##0.00_);[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8324128"/>
        <c:crosses val="autoZero"/>
        <c:crossBetween val="between"/>
      </c:valAx>
      <c:valAx>
        <c:axId val="510369920"/>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0375824"/>
        <c:crosses val="max"/>
        <c:crossBetween val="between"/>
      </c:valAx>
      <c:catAx>
        <c:axId val="510375824"/>
        <c:scaling>
          <c:orientation val="minMax"/>
        </c:scaling>
        <c:delete val="1"/>
        <c:axPos val="b"/>
        <c:majorTickMark val="out"/>
        <c:minorTickMark val="none"/>
        <c:tickLblPos val="nextTo"/>
        <c:crossAx val="51036992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Macro Overall</a:t>
            </a:r>
            <a:r>
              <a:rPr lang="en-US" baseline="0"/>
              <a:t> Hard &amp; Soft Water (Jan-14 to Dec-14)</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0"/>
            <c:dispEq val="0"/>
          </c:trendline>
          <c:xVal>
            <c:numRef>
              <c:f>'Economic Market Analysis'!$C$15:$N$15</c:f>
              <c:numCache>
                <c:formatCode>"$"#,##0.00</c:formatCode>
                <c:ptCount val="12"/>
                <c:pt idx="0">
                  <c:v>98.760874999999501</c:v>
                </c:pt>
                <c:pt idx="1">
                  <c:v>84.455375000000004</c:v>
                </c:pt>
                <c:pt idx="2">
                  <c:v>89.909833333333296</c:v>
                </c:pt>
                <c:pt idx="3">
                  <c:v>73.936316666666656</c:v>
                </c:pt>
                <c:pt idx="4">
                  <c:v>70.039583333333297</c:v>
                </c:pt>
                <c:pt idx="5">
                  <c:v>71.5543499999999</c:v>
                </c:pt>
                <c:pt idx="6">
                  <c:v>87.508375000000001</c:v>
                </c:pt>
                <c:pt idx="7">
                  <c:v>94.975583333333248</c:v>
                </c:pt>
                <c:pt idx="8">
                  <c:v>82.991208333333304</c:v>
                </c:pt>
                <c:pt idx="9">
                  <c:v>68.447716666666651</c:v>
                </c:pt>
                <c:pt idx="10">
                  <c:v>73.604270833333302</c:v>
                </c:pt>
                <c:pt idx="11">
                  <c:v>73.064458333333306</c:v>
                </c:pt>
              </c:numCache>
            </c:numRef>
          </c:xVal>
          <c:yVal>
            <c:numRef>
              <c:f>'Economic Market Analysis'!$C$16:$N$16</c:f>
              <c:numCache>
                <c:formatCode>#,##0.00</c:formatCode>
                <c:ptCount val="12"/>
                <c:pt idx="0">
                  <c:v>2744.570530306245</c:v>
                </c:pt>
                <c:pt idx="1">
                  <c:v>2115.294528795825</c:v>
                </c:pt>
                <c:pt idx="2">
                  <c:v>2151.1157345666597</c:v>
                </c:pt>
                <c:pt idx="3">
                  <c:v>2004.6686956249901</c:v>
                </c:pt>
                <c:pt idx="4">
                  <c:v>1911.7298337437451</c:v>
                </c:pt>
                <c:pt idx="5">
                  <c:v>2200.6787575349899</c:v>
                </c:pt>
                <c:pt idx="6">
                  <c:v>2479.6234272218749</c:v>
                </c:pt>
                <c:pt idx="7">
                  <c:v>2443.8685007458298</c:v>
                </c:pt>
                <c:pt idx="8">
                  <c:v>2090.5986287916598</c:v>
                </c:pt>
                <c:pt idx="9">
                  <c:v>2026.5466180458252</c:v>
                </c:pt>
                <c:pt idx="10">
                  <c:v>2103.6451441604149</c:v>
                </c:pt>
                <c:pt idx="11">
                  <c:v>1853.60281700833</c:v>
                </c:pt>
              </c:numCache>
            </c:numRef>
          </c:yVal>
          <c:smooth val="0"/>
          <c:extLst>
            <c:ext xmlns:c16="http://schemas.microsoft.com/office/drawing/2014/chart" uri="{C3380CC4-5D6E-409C-BE32-E72D297353CC}">
              <c16:uniqueId val="{00000001-CB48-493B-80AF-E25892C4D3D7}"/>
            </c:ext>
          </c:extLst>
        </c:ser>
        <c:dLbls>
          <c:showLegendKey val="0"/>
          <c:showVal val="0"/>
          <c:showCatName val="0"/>
          <c:showSerName val="0"/>
          <c:showPercent val="0"/>
          <c:showBubbleSize val="0"/>
        </c:dLbls>
        <c:axId val="660477407"/>
        <c:axId val="627166639"/>
      </c:scatterChart>
      <c:valAx>
        <c:axId val="660477407"/>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Avg.</a:t>
                </a:r>
                <a:r>
                  <a:rPr lang="en-US" baseline="0"/>
                  <a:t> WMBP</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7166639"/>
        <c:crosses val="autoZero"/>
        <c:crossBetween val="midCat"/>
      </c:valAx>
      <c:valAx>
        <c:axId val="627166639"/>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Avg.</a:t>
                </a:r>
                <a:r>
                  <a:rPr lang="en-US" baseline="0"/>
                  <a:t> Quantity of Water (Giga-Liter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0477407"/>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Surjek</a:t>
            </a:r>
            <a:r>
              <a:rPr lang="en-US" b="1" baseline="0"/>
              <a:t> Quarterly Revenues</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tx2"/>
            </a:solidFill>
            <a:ln>
              <a:noFill/>
            </a:ln>
            <a:effectLst/>
          </c:spPr>
          <c:invertIfNegative val="0"/>
          <c:dLbls>
            <c:delete val="1"/>
          </c:dLbls>
          <c:cat>
            <c:strLit>
              <c:ptCount val="4"/>
              <c:pt idx="0">
                <c:v>Q3</c:v>
              </c:pt>
              <c:pt idx="1">
                <c:v>Q4</c:v>
              </c:pt>
              <c:pt idx="2">
                <c:v>Q1</c:v>
              </c:pt>
              <c:pt idx="3">
                <c:v>Q2</c:v>
              </c:pt>
            </c:strLit>
          </c:cat>
          <c:val>
            <c:numRef>
              <c:f>('What-If Analysis'!$G$57,'What-If Analysis'!$J$57,'What-If Analysis'!$M$57,'What-If Analysis'!$P$57)</c:f>
              <c:numCache>
                <c:formatCode>"$"#,##0.00;[Red]\-"$"#,##0.00</c:formatCode>
                <c:ptCount val="4"/>
                <c:pt idx="0">
                  <c:v>48068265.527999997</c:v>
                </c:pt>
                <c:pt idx="1">
                  <c:v>44547493.697999991</c:v>
                </c:pt>
                <c:pt idx="2">
                  <c:v>60579689.130999997</c:v>
                </c:pt>
                <c:pt idx="3">
                  <c:v>49059900.811999999</c:v>
                </c:pt>
              </c:numCache>
            </c:numRef>
          </c:val>
          <c:extLst>
            <c:ext xmlns:c16="http://schemas.microsoft.com/office/drawing/2014/chart" uri="{C3380CC4-5D6E-409C-BE32-E72D297353CC}">
              <c16:uniqueId val="{00000000-5E95-4488-9402-262DE479EF65}"/>
            </c:ext>
          </c:extLst>
        </c:ser>
        <c:dLbls>
          <c:dLblPos val="inEnd"/>
          <c:showLegendKey val="0"/>
          <c:showVal val="1"/>
          <c:showCatName val="0"/>
          <c:showSerName val="0"/>
          <c:showPercent val="0"/>
          <c:showBubbleSize val="0"/>
        </c:dLbls>
        <c:gapWidth val="219"/>
        <c:overlap val="-27"/>
        <c:axId val="1419681263"/>
        <c:axId val="1411124559"/>
      </c:barChart>
      <c:catAx>
        <c:axId val="14196812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11124559"/>
        <c:crosses val="autoZero"/>
        <c:auto val="1"/>
        <c:lblAlgn val="ctr"/>
        <c:lblOffset val="100"/>
        <c:noMultiLvlLbl val="0"/>
      </c:catAx>
      <c:valAx>
        <c:axId val="1411124559"/>
        <c:scaling>
          <c:orientation val="minMax"/>
        </c:scaling>
        <c:delete val="0"/>
        <c:axPos val="l"/>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196812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st</a:t>
            </a:r>
            <a:r>
              <a:rPr lang="en-US" baseline="0"/>
              <a:t> to Produce vs. WBMP Market Price</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Overall Desalination Cost to Produce ($/ML)</c:v>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Lit>
              <c:ptCount val="3"/>
              <c:pt idx="0">
                <c:v>Kootha</c:v>
              </c:pt>
              <c:pt idx="1">
                <c:v>Surjek</c:v>
              </c:pt>
              <c:pt idx="2">
                <c:v>Jutik</c:v>
              </c:pt>
            </c:strLit>
          </c:cat>
          <c:val>
            <c:numRef>
              <c:f>'Economic Cost Analysis'!$B$232:$B$234</c:f>
              <c:numCache>
                <c:formatCode>"$"#,##0.00;[Red]\-"$"#,##0.00</c:formatCode>
                <c:ptCount val="3"/>
                <c:pt idx="0" formatCode="&quot;$&quot;#,##0.00;[Red]\-&quot;$&quot;#,##0.00\ &quot;$/ML&quot;">
                  <c:v>25001374.005209882</c:v>
                </c:pt>
                <c:pt idx="1">
                  <c:v>54231506.516209804</c:v>
                </c:pt>
                <c:pt idx="2">
                  <c:v>35804189.198254958</c:v>
                </c:pt>
              </c:numCache>
            </c:numRef>
          </c:val>
          <c:extLst>
            <c:ext xmlns:c16="http://schemas.microsoft.com/office/drawing/2014/chart" uri="{C3380CC4-5D6E-409C-BE32-E72D297353CC}">
              <c16:uniqueId val="{00000000-BF35-40C2-8DC2-CF201D10A50B}"/>
            </c:ext>
          </c:extLst>
        </c:ser>
        <c:dLbls>
          <c:showLegendKey val="0"/>
          <c:showVal val="0"/>
          <c:showCatName val="0"/>
          <c:showSerName val="0"/>
          <c:showPercent val="0"/>
          <c:showBubbleSize val="0"/>
        </c:dLbls>
        <c:gapWidth val="219"/>
        <c:overlap val="-27"/>
        <c:axId val="1576184959"/>
        <c:axId val="1371929775"/>
      </c:barChart>
      <c:lineChart>
        <c:grouping val="standard"/>
        <c:varyColors val="0"/>
        <c:ser>
          <c:idx val="1"/>
          <c:order val="1"/>
          <c:tx>
            <c:v>Overall Average WBMP Market Price</c:v>
          </c:tx>
          <c:spPr>
            <a:ln w="28575" cap="rnd">
              <a:solidFill>
                <a:schemeClr val="accent2"/>
              </a:solidFill>
              <a:round/>
            </a:ln>
            <a:effectLst/>
          </c:spPr>
          <c:marker>
            <c:symbol val="none"/>
          </c:marker>
          <c:val>
            <c:numRef>
              <c:f>'Economic Cost Analysis'!$C$232:$C$234</c:f>
              <c:numCache>
                <c:formatCode>"$"#,##0.00;[Red]\-"$"#,##0.00</c:formatCode>
                <c:ptCount val="3"/>
                <c:pt idx="0">
                  <c:v>76.577683416577656</c:v>
                </c:pt>
                <c:pt idx="1">
                  <c:v>76.577683416577656</c:v>
                </c:pt>
                <c:pt idx="2">
                  <c:v>76.577683416577656</c:v>
                </c:pt>
              </c:numCache>
            </c:numRef>
          </c:val>
          <c:smooth val="0"/>
          <c:extLst>
            <c:ext xmlns:c16="http://schemas.microsoft.com/office/drawing/2014/chart" uri="{C3380CC4-5D6E-409C-BE32-E72D297353CC}">
              <c16:uniqueId val="{00000001-BF35-40C2-8DC2-CF201D10A50B}"/>
            </c:ext>
          </c:extLst>
        </c:ser>
        <c:dLbls>
          <c:showLegendKey val="0"/>
          <c:showVal val="0"/>
          <c:showCatName val="0"/>
          <c:showSerName val="0"/>
          <c:showPercent val="0"/>
          <c:showBubbleSize val="0"/>
        </c:dLbls>
        <c:marker val="1"/>
        <c:smooth val="0"/>
        <c:axId val="1373201871"/>
        <c:axId val="1469672735"/>
      </c:lineChart>
      <c:catAx>
        <c:axId val="15761849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71929775"/>
        <c:crosses val="autoZero"/>
        <c:auto val="1"/>
        <c:lblAlgn val="ctr"/>
        <c:lblOffset val="100"/>
        <c:noMultiLvlLbl val="0"/>
      </c:catAx>
      <c:valAx>
        <c:axId val="1371929775"/>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Overall</a:t>
                </a:r>
                <a:r>
                  <a:rPr lang="en-US" baseline="0"/>
                  <a:t> Desalination Cost to Produce ($/ML)</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76184959"/>
        <c:crosses val="autoZero"/>
        <c:crossBetween val="between"/>
      </c:valAx>
      <c:valAx>
        <c:axId val="1469672735"/>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Overall</a:t>
                </a:r>
                <a:r>
                  <a:rPr lang="en-US" baseline="0"/>
                  <a:t> Average WBMP Market Pric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73201871"/>
        <c:crosses val="max"/>
        <c:crossBetween val="between"/>
      </c:valAx>
      <c:catAx>
        <c:axId val="1373201871"/>
        <c:scaling>
          <c:orientation val="minMax"/>
        </c:scaling>
        <c:delete val="1"/>
        <c:axPos val="b"/>
        <c:majorTickMark val="out"/>
        <c:minorTickMark val="none"/>
        <c:tickLblPos val="nextTo"/>
        <c:crossAx val="1469672735"/>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ggregate</a:t>
            </a:r>
            <a:r>
              <a:rPr lang="en-US" baseline="0"/>
              <a:t> Cost to Produce vs. Kootha, Surjek and Jutik</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cked"/>
        <c:varyColors val="0"/>
        <c:ser>
          <c:idx val="0"/>
          <c:order val="0"/>
          <c:tx>
            <c:v>Kootha</c:v>
          </c:tx>
          <c:spPr>
            <a:ln w="28575" cap="rnd">
              <a:solidFill>
                <a:schemeClr val="accent1"/>
              </a:solidFill>
              <a:round/>
            </a:ln>
            <a:effectLst/>
          </c:spPr>
          <c:marker>
            <c:symbol val="none"/>
          </c:marker>
          <c:cat>
            <c:numRef>
              <c:f>'Economic Cost Analysis'!$H$10:$R$10</c:f>
              <c:numCache>
                <c:formatCode>mmm\-yy</c:formatCode>
                <c:ptCount val="11"/>
                <c:pt idx="0">
                  <c:v>41487</c:v>
                </c:pt>
                <c:pt idx="1">
                  <c:v>41518</c:v>
                </c:pt>
                <c:pt idx="2">
                  <c:v>41548</c:v>
                </c:pt>
                <c:pt idx="3">
                  <c:v>41579</c:v>
                </c:pt>
                <c:pt idx="4">
                  <c:v>41609</c:v>
                </c:pt>
                <c:pt idx="5">
                  <c:v>41640</c:v>
                </c:pt>
                <c:pt idx="6">
                  <c:v>41671</c:v>
                </c:pt>
                <c:pt idx="7">
                  <c:v>41699</c:v>
                </c:pt>
                <c:pt idx="8">
                  <c:v>41730</c:v>
                </c:pt>
                <c:pt idx="9">
                  <c:v>41760</c:v>
                </c:pt>
                <c:pt idx="10">
                  <c:v>41791</c:v>
                </c:pt>
              </c:numCache>
              <c:extLst/>
            </c:numRef>
          </c:cat>
          <c:val>
            <c:numRef>
              <c:f>'Economic Cost Analysis'!$H$22:$R$22</c:f>
              <c:numCache>
                <c:formatCode>"$"#,##0.00;[Red]\-"$"#,##0.00\ "$/ML"</c:formatCode>
                <c:ptCount val="11"/>
                <c:pt idx="0">
                  <c:v>25492172.623052564</c:v>
                </c:pt>
                <c:pt idx="1">
                  <c:v>20246430.814356368</c:v>
                </c:pt>
                <c:pt idx="2">
                  <c:v>18538208.897820558</c:v>
                </c:pt>
                <c:pt idx="3">
                  <c:v>37173188.73459211</c:v>
                </c:pt>
                <c:pt idx="4">
                  <c:v>18926571.259334378</c:v>
                </c:pt>
                <c:pt idx="5">
                  <c:v>28088710.165040504</c:v>
                </c:pt>
                <c:pt idx="6">
                  <c:v>27869870.996564563</c:v>
                </c:pt>
                <c:pt idx="7">
                  <c:v>23038875.551690031</c:v>
                </c:pt>
                <c:pt idx="8">
                  <c:v>25835142.653285149</c:v>
                </c:pt>
                <c:pt idx="9">
                  <c:v>27720966.236714665</c:v>
                </c:pt>
                <c:pt idx="10">
                  <c:v>37542526.065045901</c:v>
                </c:pt>
              </c:numCache>
              <c:extLst/>
            </c:numRef>
          </c:val>
          <c:smooth val="0"/>
          <c:extLst>
            <c:ext xmlns:c16="http://schemas.microsoft.com/office/drawing/2014/chart" uri="{C3380CC4-5D6E-409C-BE32-E72D297353CC}">
              <c16:uniqueId val="{00000000-C8C8-40E4-ABB9-44F06BE32218}"/>
            </c:ext>
          </c:extLst>
        </c:ser>
        <c:ser>
          <c:idx val="1"/>
          <c:order val="1"/>
          <c:tx>
            <c:v>Surjek</c:v>
          </c:tx>
          <c:spPr>
            <a:ln w="28575" cap="rnd">
              <a:solidFill>
                <a:schemeClr val="accent2"/>
              </a:solidFill>
              <a:round/>
            </a:ln>
            <a:effectLst/>
          </c:spPr>
          <c:marker>
            <c:symbol val="none"/>
          </c:marker>
          <c:cat>
            <c:numRef>
              <c:f>'Economic Cost Analysis'!$H$10:$R$10</c:f>
              <c:numCache>
                <c:formatCode>mmm\-yy</c:formatCode>
                <c:ptCount val="11"/>
                <c:pt idx="0">
                  <c:v>41487</c:v>
                </c:pt>
                <c:pt idx="1">
                  <c:v>41518</c:v>
                </c:pt>
                <c:pt idx="2">
                  <c:v>41548</c:v>
                </c:pt>
                <c:pt idx="3">
                  <c:v>41579</c:v>
                </c:pt>
                <c:pt idx="4">
                  <c:v>41609</c:v>
                </c:pt>
                <c:pt idx="5">
                  <c:v>41640</c:v>
                </c:pt>
                <c:pt idx="6">
                  <c:v>41671</c:v>
                </c:pt>
                <c:pt idx="7">
                  <c:v>41699</c:v>
                </c:pt>
                <c:pt idx="8">
                  <c:v>41730</c:v>
                </c:pt>
                <c:pt idx="9">
                  <c:v>41760</c:v>
                </c:pt>
                <c:pt idx="10">
                  <c:v>41791</c:v>
                </c:pt>
              </c:numCache>
              <c:extLst/>
            </c:numRef>
          </c:cat>
          <c:val>
            <c:numRef>
              <c:f>'Economic Cost Analysis'!$H$33:$R$33</c:f>
              <c:numCache>
                <c:formatCode>"$"#,##0.00;[Red]\-"$"#,##0.00\ "$/ML"</c:formatCode>
                <c:ptCount val="11"/>
                <c:pt idx="0">
                  <c:v>59863878.813385598</c:v>
                </c:pt>
                <c:pt idx="1">
                  <c:v>63762690.282929726</c:v>
                </c:pt>
                <c:pt idx="2">
                  <c:v>78188472.724753365</c:v>
                </c:pt>
                <c:pt idx="3">
                  <c:v>86296565.119062245</c:v>
                </c:pt>
                <c:pt idx="4">
                  <c:v>53948353.573134474</c:v>
                </c:pt>
                <c:pt idx="5">
                  <c:v>48540531.907011323</c:v>
                </c:pt>
                <c:pt idx="6">
                  <c:v>53663485.346415199</c:v>
                </c:pt>
                <c:pt idx="7">
                  <c:v>40836500.744441323</c:v>
                </c:pt>
                <c:pt idx="8">
                  <c:v>45840777.989347592</c:v>
                </c:pt>
                <c:pt idx="9">
                  <c:v>52150567.77763202</c:v>
                </c:pt>
                <c:pt idx="10">
                  <c:v>32611103.369040955</c:v>
                </c:pt>
              </c:numCache>
              <c:extLst/>
            </c:numRef>
          </c:val>
          <c:smooth val="0"/>
          <c:extLst>
            <c:ext xmlns:c16="http://schemas.microsoft.com/office/drawing/2014/chart" uri="{C3380CC4-5D6E-409C-BE32-E72D297353CC}">
              <c16:uniqueId val="{00000001-C8C8-40E4-ABB9-44F06BE32218}"/>
            </c:ext>
          </c:extLst>
        </c:ser>
        <c:ser>
          <c:idx val="2"/>
          <c:order val="2"/>
          <c:tx>
            <c:v>Jutik</c:v>
          </c:tx>
          <c:spPr>
            <a:ln w="28575" cap="rnd">
              <a:solidFill>
                <a:schemeClr val="accent3"/>
              </a:solidFill>
              <a:round/>
            </a:ln>
            <a:effectLst/>
          </c:spPr>
          <c:marker>
            <c:symbol val="none"/>
          </c:marker>
          <c:cat>
            <c:numRef>
              <c:f>'Economic Cost Analysis'!$H$10:$R$10</c:f>
              <c:numCache>
                <c:formatCode>mmm\-yy</c:formatCode>
                <c:ptCount val="11"/>
                <c:pt idx="0">
                  <c:v>41487</c:v>
                </c:pt>
                <c:pt idx="1">
                  <c:v>41518</c:v>
                </c:pt>
                <c:pt idx="2">
                  <c:v>41548</c:v>
                </c:pt>
                <c:pt idx="3">
                  <c:v>41579</c:v>
                </c:pt>
                <c:pt idx="4">
                  <c:v>41609</c:v>
                </c:pt>
                <c:pt idx="5">
                  <c:v>41640</c:v>
                </c:pt>
                <c:pt idx="6">
                  <c:v>41671</c:v>
                </c:pt>
                <c:pt idx="7">
                  <c:v>41699</c:v>
                </c:pt>
                <c:pt idx="8">
                  <c:v>41730</c:v>
                </c:pt>
                <c:pt idx="9">
                  <c:v>41760</c:v>
                </c:pt>
                <c:pt idx="10">
                  <c:v>41791</c:v>
                </c:pt>
              </c:numCache>
              <c:extLst/>
            </c:numRef>
          </c:cat>
          <c:val>
            <c:numRef>
              <c:f>'Economic Cost Analysis'!$H$44:$R$44</c:f>
              <c:numCache>
                <c:formatCode>"$"#,##0.00;[Red]\-"$"#,##0.00\ "$/ML"</c:formatCode>
                <c:ptCount val="11"/>
                <c:pt idx="0">
                  <c:v>31479124.229144558</c:v>
                </c:pt>
                <c:pt idx="1">
                  <c:v>43716430.376785927</c:v>
                </c:pt>
                <c:pt idx="2">
                  <c:v>42437461.047529586</c:v>
                </c:pt>
                <c:pt idx="3">
                  <c:v>30832306.822249629</c:v>
                </c:pt>
                <c:pt idx="4">
                  <c:v>40056607.121314861</c:v>
                </c:pt>
                <c:pt idx="5">
                  <c:v>35252643.432800435</c:v>
                </c:pt>
                <c:pt idx="6">
                  <c:v>34409704.749282546</c:v>
                </c:pt>
                <c:pt idx="7">
                  <c:v>37625793.747462474</c:v>
                </c:pt>
                <c:pt idx="8">
                  <c:v>28473377.116074249</c:v>
                </c:pt>
                <c:pt idx="9">
                  <c:v>33597819.13685286</c:v>
                </c:pt>
                <c:pt idx="10">
                  <c:v>43016148.904686302</c:v>
                </c:pt>
              </c:numCache>
              <c:extLst/>
            </c:numRef>
          </c:val>
          <c:smooth val="0"/>
          <c:extLst>
            <c:ext xmlns:c16="http://schemas.microsoft.com/office/drawing/2014/chart" uri="{C3380CC4-5D6E-409C-BE32-E72D297353CC}">
              <c16:uniqueId val="{00000002-C8C8-40E4-ABB9-44F06BE32218}"/>
            </c:ext>
          </c:extLst>
        </c:ser>
        <c:ser>
          <c:idx val="3"/>
          <c:order val="3"/>
          <c:tx>
            <c:v>Kootha+Surjek+Jutik</c:v>
          </c:tx>
          <c:spPr>
            <a:ln w="28575" cap="rnd">
              <a:solidFill>
                <a:schemeClr val="accent4"/>
              </a:solidFill>
              <a:round/>
            </a:ln>
            <a:effectLst/>
          </c:spPr>
          <c:marker>
            <c:symbol val="none"/>
          </c:marker>
          <c:cat>
            <c:numRef>
              <c:f>'Economic Cost Analysis'!$H$10:$R$10</c:f>
              <c:numCache>
                <c:formatCode>mmm\-yy</c:formatCode>
                <c:ptCount val="11"/>
                <c:pt idx="0">
                  <c:v>41487</c:v>
                </c:pt>
                <c:pt idx="1">
                  <c:v>41518</c:v>
                </c:pt>
                <c:pt idx="2">
                  <c:v>41548</c:v>
                </c:pt>
                <c:pt idx="3">
                  <c:v>41579</c:v>
                </c:pt>
                <c:pt idx="4">
                  <c:v>41609</c:v>
                </c:pt>
                <c:pt idx="5">
                  <c:v>41640</c:v>
                </c:pt>
                <c:pt idx="6">
                  <c:v>41671</c:v>
                </c:pt>
                <c:pt idx="7">
                  <c:v>41699</c:v>
                </c:pt>
                <c:pt idx="8">
                  <c:v>41730</c:v>
                </c:pt>
                <c:pt idx="9">
                  <c:v>41760</c:v>
                </c:pt>
                <c:pt idx="10">
                  <c:v>41791</c:v>
                </c:pt>
              </c:numCache>
              <c:extLst/>
            </c:numRef>
          </c:cat>
          <c:val>
            <c:numRef>
              <c:f>'Economic Cost Analysis'!$H$62:$S$62</c:f>
              <c:numCache>
                <c:formatCode>"$"#,##0.00;[Red]\-"$"#,##0.00</c:formatCode>
                <c:ptCount val="12"/>
                <c:pt idx="0">
                  <c:v>40083392.414844856</c:v>
                </c:pt>
                <c:pt idx="1">
                  <c:v>43723249.193160832</c:v>
                </c:pt>
                <c:pt idx="2">
                  <c:v>48886636.356341936</c:v>
                </c:pt>
                <c:pt idx="3">
                  <c:v>56088102.230227396</c:v>
                </c:pt>
                <c:pt idx="4">
                  <c:v>39044842.053719014</c:v>
                </c:pt>
                <c:pt idx="5">
                  <c:v>38918514.17405533</c:v>
                </c:pt>
                <c:pt idx="6">
                  <c:v>41543319.627670586</c:v>
                </c:pt>
                <c:pt idx="7">
                  <c:v>35585926.820374347</c:v>
                </c:pt>
                <c:pt idx="8">
                  <c:v>35928208.36041636</c:v>
                </c:pt>
                <c:pt idx="9">
                  <c:v>41013913.758286819</c:v>
                </c:pt>
                <c:pt idx="10">
                  <c:v>37418278.653587282</c:v>
                </c:pt>
                <c:pt idx="11">
                  <c:v>40721955.036810517</c:v>
                </c:pt>
              </c:numCache>
              <c:extLst/>
            </c:numRef>
          </c:val>
          <c:smooth val="0"/>
          <c:extLst>
            <c:ext xmlns:c16="http://schemas.microsoft.com/office/drawing/2014/chart" uri="{C3380CC4-5D6E-409C-BE32-E72D297353CC}">
              <c16:uniqueId val="{00000003-C8C8-40E4-ABB9-44F06BE32218}"/>
            </c:ext>
          </c:extLst>
        </c:ser>
        <c:dLbls>
          <c:showLegendKey val="0"/>
          <c:showVal val="0"/>
          <c:showCatName val="0"/>
          <c:showSerName val="0"/>
          <c:showPercent val="0"/>
          <c:showBubbleSize val="0"/>
        </c:dLbls>
        <c:smooth val="0"/>
        <c:axId val="1913672623"/>
        <c:axId val="1188089119"/>
      </c:lineChart>
      <c:dateAx>
        <c:axId val="1913672623"/>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88089119"/>
        <c:crosses val="autoZero"/>
        <c:auto val="1"/>
        <c:lblOffset val="100"/>
        <c:baseTimeUnit val="months"/>
      </c:dateAx>
      <c:valAx>
        <c:axId val="1188089119"/>
        <c:scaling>
          <c:orientation val="minMax"/>
        </c:scaling>
        <c:delete val="0"/>
        <c:axPos val="l"/>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1367262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Kootha Cost to Produce vs.</a:t>
            </a:r>
            <a:r>
              <a:rPr lang="en-US" baseline="0"/>
              <a:t> Volume of Water Produced</a:t>
            </a:r>
            <a:endParaRPr lang="en-US"/>
          </a:p>
        </c:rich>
      </c:tx>
      <c:layout>
        <c:manualLayout>
          <c:xMode val="edge"/>
          <c:yMode val="edge"/>
          <c:x val="0.42338407422077812"/>
          <c:y val="2.5352126734017263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0"/>
            <c:dispEq val="0"/>
          </c:trendline>
          <c:xVal>
            <c:numRef>
              <c:f>'Economic Cost Analysis'!$G$21:$R$21</c:f>
              <c:numCache>
                <c:formatCode>#,##0.00</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xVal>
          <c:yVal>
            <c:numRef>
              <c:f>'Economic Cost Analysis'!$G$22:$R$22</c:f>
              <c:numCache>
                <c:formatCode>"$"#,##0.00;[Red]\-"$"#,##0.00\ "$/ML"</c:formatCode>
                <c:ptCount val="12"/>
                <c:pt idx="0">
                  <c:v>19008554.4604031</c:v>
                </c:pt>
                <c:pt idx="1">
                  <c:v>25492172.623052564</c:v>
                </c:pt>
                <c:pt idx="2">
                  <c:v>20246430.814356368</c:v>
                </c:pt>
                <c:pt idx="3">
                  <c:v>18538208.897820558</c:v>
                </c:pt>
                <c:pt idx="4">
                  <c:v>37173188.73459211</c:v>
                </c:pt>
                <c:pt idx="5">
                  <c:v>18926571.259334378</c:v>
                </c:pt>
                <c:pt idx="6">
                  <c:v>28088710.165040504</c:v>
                </c:pt>
                <c:pt idx="7">
                  <c:v>27869870.996564563</c:v>
                </c:pt>
                <c:pt idx="8">
                  <c:v>23038875.551690031</c:v>
                </c:pt>
                <c:pt idx="9">
                  <c:v>25835142.653285149</c:v>
                </c:pt>
                <c:pt idx="10">
                  <c:v>27720966.236714665</c:v>
                </c:pt>
                <c:pt idx="11">
                  <c:v>37542526.065045901</c:v>
                </c:pt>
              </c:numCache>
            </c:numRef>
          </c:yVal>
          <c:smooth val="0"/>
          <c:extLst>
            <c:ext xmlns:c16="http://schemas.microsoft.com/office/drawing/2014/chart" uri="{C3380CC4-5D6E-409C-BE32-E72D297353CC}">
              <c16:uniqueId val="{00000001-0409-4D4B-8773-BEC5AC5C5617}"/>
            </c:ext>
          </c:extLst>
        </c:ser>
        <c:dLbls>
          <c:showLegendKey val="0"/>
          <c:showVal val="0"/>
          <c:showCatName val="0"/>
          <c:showSerName val="0"/>
          <c:showPercent val="0"/>
          <c:showBubbleSize val="0"/>
        </c:dLbls>
        <c:axId val="1475818671"/>
        <c:axId val="1468343727"/>
      </c:scatterChart>
      <c:valAx>
        <c:axId val="1475818671"/>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olume</a:t>
                </a:r>
                <a:r>
                  <a:rPr lang="en-US" baseline="0"/>
                  <a:t> of Water (GL)</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8343727"/>
        <c:crosses val="autoZero"/>
        <c:crossBetween val="midCat"/>
      </c:valAx>
      <c:valAx>
        <c:axId val="1468343727"/>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st</a:t>
                </a:r>
                <a:r>
                  <a:rPr lang="en-US" baseline="0"/>
                  <a:t> to Produce ($/ML)</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7581867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urjek Cost to Produce vs. Volume of Water Produced</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0"/>
            <c:dispEq val="0"/>
          </c:trendline>
          <c:xVal>
            <c:numRef>
              <c:f>'Economic Cost Analysis'!$G$32:$R$32</c:f>
              <c:numCache>
                <c:formatCode>#,##0.0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xVal>
          <c:yVal>
            <c:numRef>
              <c:f>'Economic Cost Analysis'!$G$33:$R$33</c:f>
              <c:numCache>
                <c:formatCode>"$"#,##0.00;[Red]\-"$"#,##0.00\ "$/ML"</c:formatCode>
                <c:ptCount val="12"/>
                <c:pt idx="0">
                  <c:v>52749704.483604208</c:v>
                </c:pt>
                <c:pt idx="1">
                  <c:v>59863878.813385598</c:v>
                </c:pt>
                <c:pt idx="2">
                  <c:v>63762690.282929726</c:v>
                </c:pt>
                <c:pt idx="3">
                  <c:v>78188472.724753365</c:v>
                </c:pt>
                <c:pt idx="4">
                  <c:v>86296565.119062245</c:v>
                </c:pt>
                <c:pt idx="5">
                  <c:v>53948353.573134474</c:v>
                </c:pt>
                <c:pt idx="6">
                  <c:v>48540531.907011323</c:v>
                </c:pt>
                <c:pt idx="7">
                  <c:v>53663485.346415199</c:v>
                </c:pt>
                <c:pt idx="8">
                  <c:v>40836500.744441323</c:v>
                </c:pt>
                <c:pt idx="9">
                  <c:v>45840777.989347592</c:v>
                </c:pt>
                <c:pt idx="10">
                  <c:v>52150567.77763202</c:v>
                </c:pt>
                <c:pt idx="11">
                  <c:v>32611103.369040955</c:v>
                </c:pt>
              </c:numCache>
            </c:numRef>
          </c:yVal>
          <c:smooth val="0"/>
          <c:extLst>
            <c:ext xmlns:c16="http://schemas.microsoft.com/office/drawing/2014/chart" uri="{C3380CC4-5D6E-409C-BE32-E72D297353CC}">
              <c16:uniqueId val="{00000001-3D40-435A-AF0B-7783439C45F2}"/>
            </c:ext>
          </c:extLst>
        </c:ser>
        <c:dLbls>
          <c:showLegendKey val="0"/>
          <c:showVal val="0"/>
          <c:showCatName val="0"/>
          <c:showSerName val="0"/>
          <c:showPercent val="0"/>
          <c:showBubbleSize val="0"/>
        </c:dLbls>
        <c:axId val="1501404271"/>
        <c:axId val="1469669855"/>
      </c:scatterChart>
      <c:valAx>
        <c:axId val="1501404271"/>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olume</a:t>
                </a:r>
                <a:r>
                  <a:rPr lang="en-US" baseline="0"/>
                  <a:t> of Water (GL)</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9669855"/>
        <c:crosses val="autoZero"/>
        <c:crossBetween val="midCat"/>
      </c:valAx>
      <c:valAx>
        <c:axId val="1469669855"/>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pst</a:t>
                </a:r>
                <a:r>
                  <a:rPr lang="en-US" baseline="0"/>
                  <a:t> to Produce ($/ML)</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0140427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Jutik Cost to Produce vs. Volume of Water Produced</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0"/>
            <c:dispEq val="0"/>
          </c:trendline>
          <c:xVal>
            <c:numRef>
              <c:f>'Economic Cost Analysis'!$G$43:$R$43</c:f>
              <c:numCache>
                <c:formatCode>#,##0.00</c:formatCode>
                <c:ptCount val="12"/>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xVal>
          <c:yVal>
            <c:numRef>
              <c:f>'Economic Cost Analysis'!$G$44:$R$44</c:f>
              <c:numCache>
                <c:formatCode>"$"#,##0.00;[Red]\-"$"#,##0.00\ "$/ML"</c:formatCode>
                <c:ptCount val="12"/>
                <c:pt idx="0">
                  <c:v>32644395.721309703</c:v>
                </c:pt>
                <c:pt idx="1">
                  <c:v>31479124.229144558</c:v>
                </c:pt>
                <c:pt idx="2">
                  <c:v>43716430.376785927</c:v>
                </c:pt>
                <c:pt idx="3">
                  <c:v>42437461.047529586</c:v>
                </c:pt>
                <c:pt idx="4">
                  <c:v>30832306.822249629</c:v>
                </c:pt>
                <c:pt idx="5">
                  <c:v>40056607.121314861</c:v>
                </c:pt>
                <c:pt idx="6">
                  <c:v>35252643.432800435</c:v>
                </c:pt>
                <c:pt idx="7">
                  <c:v>34409704.749282546</c:v>
                </c:pt>
                <c:pt idx="8">
                  <c:v>37625793.747462474</c:v>
                </c:pt>
                <c:pt idx="9">
                  <c:v>28473377.116074249</c:v>
                </c:pt>
                <c:pt idx="10">
                  <c:v>33597819.13685286</c:v>
                </c:pt>
                <c:pt idx="11">
                  <c:v>43016148.904686302</c:v>
                </c:pt>
              </c:numCache>
            </c:numRef>
          </c:yVal>
          <c:smooth val="0"/>
          <c:extLst>
            <c:ext xmlns:c16="http://schemas.microsoft.com/office/drawing/2014/chart" uri="{C3380CC4-5D6E-409C-BE32-E72D297353CC}">
              <c16:uniqueId val="{00000001-BE80-4B5F-9BE8-E88D9047DD00}"/>
            </c:ext>
          </c:extLst>
        </c:ser>
        <c:dLbls>
          <c:showLegendKey val="0"/>
          <c:showVal val="0"/>
          <c:showCatName val="0"/>
          <c:showSerName val="0"/>
          <c:showPercent val="0"/>
          <c:showBubbleSize val="0"/>
        </c:dLbls>
        <c:axId val="1342321967"/>
        <c:axId val="1332294447"/>
      </c:scatterChart>
      <c:valAx>
        <c:axId val="1342321967"/>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olume</a:t>
                </a:r>
                <a:r>
                  <a:rPr lang="en-US" baseline="0"/>
                  <a:t> of Water (GL)</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2294447"/>
        <c:crosses val="autoZero"/>
        <c:crossBetween val="midCat"/>
      </c:valAx>
      <c:valAx>
        <c:axId val="1332294447"/>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st</a:t>
                </a:r>
                <a:r>
                  <a:rPr lang="en-US" baseline="0"/>
                  <a:t> to Produce ($/ML)</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42321967"/>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Macro Overall</a:t>
            </a:r>
            <a:r>
              <a:rPr lang="en-US" baseline="0"/>
              <a:t> Soft Water (Jan-14 to Dec-14)</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0"/>
            <c:dispEq val="0"/>
          </c:trendline>
          <c:xVal>
            <c:numRef>
              <c:f>'Economic Market Analysis'!$C$21:$N$21</c:f>
              <c:numCache>
                <c:formatCode>"$"#,##0.00</c:formatCode>
                <c:ptCount val="12"/>
                <c:pt idx="0">
                  <c:v>89.334249999999997</c:v>
                </c:pt>
                <c:pt idx="1">
                  <c:v>56.500749999999996</c:v>
                </c:pt>
                <c:pt idx="2">
                  <c:v>69.394666666666595</c:v>
                </c:pt>
                <c:pt idx="3">
                  <c:v>53.714300000000001</c:v>
                </c:pt>
                <c:pt idx="4">
                  <c:v>44.181666666666601</c:v>
                </c:pt>
                <c:pt idx="5">
                  <c:v>53.580699999999901</c:v>
                </c:pt>
                <c:pt idx="6">
                  <c:v>80.355500000000006</c:v>
                </c:pt>
                <c:pt idx="7">
                  <c:v>97.3719999999999</c:v>
                </c:pt>
                <c:pt idx="8">
                  <c:v>71.976583333333295</c:v>
                </c:pt>
                <c:pt idx="9">
                  <c:v>41.709600000000002</c:v>
                </c:pt>
                <c:pt idx="10">
                  <c:v>54.774374999999999</c:v>
                </c:pt>
                <c:pt idx="11">
                  <c:v>51.697249999999997</c:v>
                </c:pt>
              </c:numCache>
            </c:numRef>
          </c:xVal>
          <c:yVal>
            <c:numRef>
              <c:f>'Economic Market Analysis'!$C$22:$N$22</c:f>
              <c:numCache>
                <c:formatCode>#,##0.00</c:formatCode>
                <c:ptCount val="12"/>
                <c:pt idx="0">
                  <c:v>2744.570530306245</c:v>
                </c:pt>
                <c:pt idx="1">
                  <c:v>2115.294528795825</c:v>
                </c:pt>
                <c:pt idx="2">
                  <c:v>2151.1157345666597</c:v>
                </c:pt>
                <c:pt idx="3">
                  <c:v>2004.6686956249901</c:v>
                </c:pt>
                <c:pt idx="4">
                  <c:v>1911.7298337437451</c:v>
                </c:pt>
                <c:pt idx="5">
                  <c:v>2200.6787575349899</c:v>
                </c:pt>
                <c:pt idx="6">
                  <c:v>2479.6234272218749</c:v>
                </c:pt>
                <c:pt idx="7">
                  <c:v>2443.8685007458298</c:v>
                </c:pt>
                <c:pt idx="8">
                  <c:v>2090.5986287916598</c:v>
                </c:pt>
                <c:pt idx="9">
                  <c:v>2026.5466180458252</c:v>
                </c:pt>
                <c:pt idx="10">
                  <c:v>2103.6451441604149</c:v>
                </c:pt>
                <c:pt idx="11">
                  <c:v>1853.60281700833</c:v>
                </c:pt>
              </c:numCache>
            </c:numRef>
          </c:yVal>
          <c:smooth val="0"/>
          <c:extLst>
            <c:ext xmlns:c16="http://schemas.microsoft.com/office/drawing/2014/chart" uri="{C3380CC4-5D6E-409C-BE32-E72D297353CC}">
              <c16:uniqueId val="{00000001-A106-4D1F-9094-594791F778CD}"/>
            </c:ext>
          </c:extLst>
        </c:ser>
        <c:dLbls>
          <c:showLegendKey val="0"/>
          <c:showVal val="0"/>
          <c:showCatName val="0"/>
          <c:showSerName val="0"/>
          <c:showPercent val="0"/>
          <c:showBubbleSize val="0"/>
        </c:dLbls>
        <c:axId val="1275570863"/>
        <c:axId val="964102271"/>
      </c:scatterChart>
      <c:valAx>
        <c:axId val="1275570863"/>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Avg.</a:t>
                </a:r>
                <a:r>
                  <a:rPr lang="en-US" baseline="0"/>
                  <a:t> WMBP</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64102271"/>
        <c:crosses val="autoZero"/>
        <c:crossBetween val="midCat"/>
      </c:valAx>
      <c:valAx>
        <c:axId val="964102271"/>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Avg.</a:t>
                </a:r>
                <a:r>
                  <a:rPr lang="en-US" baseline="0"/>
                  <a:t> Quantity of Water (Giga-Liters)</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7557086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Macro Overall</a:t>
            </a:r>
            <a:r>
              <a:rPr lang="en-US" baseline="0"/>
              <a:t> Hard Water (Jan-14 to Dec-14)</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0"/>
            <c:dispEq val="0"/>
          </c:trendline>
          <c:xVal>
            <c:numRef>
              <c:f>'Economic Market Analysis'!$C$18:$N$18</c:f>
              <c:numCache>
                <c:formatCode>"$"#,##0.00</c:formatCode>
                <c:ptCount val="12"/>
                <c:pt idx="0">
                  <c:v>108.18749999999901</c:v>
                </c:pt>
                <c:pt idx="1">
                  <c:v>112.41</c:v>
                </c:pt>
                <c:pt idx="2">
                  <c:v>110.425</c:v>
                </c:pt>
                <c:pt idx="3">
                  <c:v>94.158333333333303</c:v>
                </c:pt>
                <c:pt idx="4">
                  <c:v>95.897499999999994</c:v>
                </c:pt>
                <c:pt idx="5">
                  <c:v>89.527999999999906</c:v>
                </c:pt>
                <c:pt idx="6">
                  <c:v>94.661249999999995</c:v>
                </c:pt>
                <c:pt idx="7">
                  <c:v>92.579166666666595</c:v>
                </c:pt>
                <c:pt idx="8">
                  <c:v>94.0058333333333</c:v>
                </c:pt>
                <c:pt idx="9">
                  <c:v>95.185833333333306</c:v>
                </c:pt>
                <c:pt idx="10">
                  <c:v>92.434166666666599</c:v>
                </c:pt>
                <c:pt idx="11">
                  <c:v>94.431666666666601</c:v>
                </c:pt>
              </c:numCache>
            </c:numRef>
          </c:xVal>
          <c:yVal>
            <c:numRef>
              <c:f>'Economic Market Analysis'!$C$19:$N$19</c:f>
              <c:numCache>
                <c:formatCode>#,##0.00</c:formatCode>
                <c:ptCount val="12"/>
                <c:pt idx="0">
                  <c:v>2744.570530306245</c:v>
                </c:pt>
                <c:pt idx="1">
                  <c:v>2115.294528795825</c:v>
                </c:pt>
                <c:pt idx="2">
                  <c:v>2151.1157345666597</c:v>
                </c:pt>
                <c:pt idx="3">
                  <c:v>2004.6686956249901</c:v>
                </c:pt>
                <c:pt idx="4">
                  <c:v>1911.7298337437451</c:v>
                </c:pt>
                <c:pt idx="5">
                  <c:v>2200.6787575349899</c:v>
                </c:pt>
                <c:pt idx="6">
                  <c:v>2479.6234272218749</c:v>
                </c:pt>
                <c:pt idx="7">
                  <c:v>2443.8685007458298</c:v>
                </c:pt>
                <c:pt idx="8">
                  <c:v>2090.5986287916598</c:v>
                </c:pt>
                <c:pt idx="9">
                  <c:v>2026.5466180458252</c:v>
                </c:pt>
                <c:pt idx="10">
                  <c:v>2103.6451441604149</c:v>
                </c:pt>
                <c:pt idx="11">
                  <c:v>1853.60281700833</c:v>
                </c:pt>
              </c:numCache>
            </c:numRef>
          </c:yVal>
          <c:smooth val="0"/>
          <c:extLst>
            <c:ext xmlns:c16="http://schemas.microsoft.com/office/drawing/2014/chart" uri="{C3380CC4-5D6E-409C-BE32-E72D297353CC}">
              <c16:uniqueId val="{00000001-6B9B-4F74-B0A3-BDFE12C13E2E}"/>
            </c:ext>
          </c:extLst>
        </c:ser>
        <c:dLbls>
          <c:showLegendKey val="0"/>
          <c:showVal val="0"/>
          <c:showCatName val="0"/>
          <c:showSerName val="0"/>
          <c:showPercent val="0"/>
          <c:showBubbleSize val="0"/>
        </c:dLbls>
        <c:axId val="970037503"/>
        <c:axId val="865546223"/>
      </c:scatterChart>
      <c:valAx>
        <c:axId val="970037503"/>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Avg.</a:t>
                </a:r>
                <a:r>
                  <a:rPr lang="en-US" baseline="0"/>
                  <a:t> WMBP</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65546223"/>
        <c:crosses val="autoZero"/>
        <c:crossBetween val="midCat"/>
      </c:valAx>
      <c:valAx>
        <c:axId val="865546223"/>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Avg.</a:t>
                </a:r>
                <a:r>
                  <a:rPr lang="en-US" baseline="0"/>
                  <a:t> Quantity of Water (Giga-Liters)</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7003750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2/09/2023</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xml"/><Relationship Id="rId4" Type="http://schemas.openxmlformats.org/officeDocument/2006/relationships/chart" Target="../charts/char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 estimated 22% reduction in Surjek’s Revenues ($44.5M) due to the Maintenance Outage, Quarter 4 presents the best balance of revenue-loss mitigation with respect to market pricing, as opposed to Quarter 1 which represents the highest demand (6832GL) and Water Balancing Market Prices ($84.91).</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1" name="Chart 10">
            <a:extLst>
              <a:ext uri="{FF2B5EF4-FFF2-40B4-BE49-F238E27FC236}">
                <a16:creationId xmlns:a16="http://schemas.microsoft.com/office/drawing/2014/main" id="{EC19C994-9521-4621-BDD8-A81FFDF8F338}"/>
              </a:ext>
            </a:extLst>
          </p:cNvPr>
          <p:cNvGraphicFramePr>
            <a:graphicFrameLocks/>
          </p:cNvGraphicFramePr>
          <p:nvPr>
            <p:extLst>
              <p:ext uri="{D42A27DB-BD31-4B8C-83A1-F6EECF244321}">
                <p14:modId xmlns:p14="http://schemas.microsoft.com/office/powerpoint/2010/main" val="4146095008"/>
              </p:ext>
            </p:extLst>
          </p:nvPr>
        </p:nvGraphicFramePr>
        <p:xfrm>
          <a:off x="4480719" y="1118547"/>
          <a:ext cx="4109640" cy="509786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418C0A0E-AB6C-88D0-9253-D5883135E9FC}"/>
              </a:ext>
            </a:extLst>
          </p:cNvPr>
          <p:cNvGraphicFramePr>
            <a:graphicFrameLocks/>
          </p:cNvGraphicFramePr>
          <p:nvPr>
            <p:extLst>
              <p:ext uri="{D42A27DB-BD31-4B8C-83A1-F6EECF244321}">
                <p14:modId xmlns:p14="http://schemas.microsoft.com/office/powerpoint/2010/main" val="12048180"/>
              </p:ext>
            </p:extLst>
          </p:nvPr>
        </p:nvGraphicFramePr>
        <p:xfrm>
          <a:off x="239171" y="1118547"/>
          <a:ext cx="3798675" cy="490200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a:t>
            </a:r>
            <a:r>
              <a:rPr lang="en-GB" sz="1200" b="1" dirty="0" err="1"/>
              <a:t>Kootha</a:t>
            </a:r>
            <a:r>
              <a:rPr lang="en-GB" sz="1200" b="1" dirty="0"/>
              <a:t> is the most cost-effective $25/ML) followed by </a:t>
            </a:r>
            <a:r>
              <a:rPr lang="en-GB" sz="1200" b="1" dirty="0" err="1"/>
              <a:t>Jutik</a:t>
            </a:r>
            <a:r>
              <a:rPr lang="en-GB" sz="1200" b="1" dirty="0"/>
              <a:t> ($35/ML) and lastly </a:t>
            </a:r>
            <a:r>
              <a:rPr lang="en-GB" sz="1200" b="1" dirty="0" err="1"/>
              <a:t>Surjek</a:t>
            </a:r>
            <a:r>
              <a:rPr lang="en-GB" sz="1200" b="1" dirty="0"/>
              <a:t> ($54/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3EED5983-226F-5FBE-499F-22FBECCA3031}"/>
              </a:ext>
            </a:extLst>
          </p:cNvPr>
          <p:cNvGraphicFramePr>
            <a:graphicFrameLocks/>
          </p:cNvGraphicFramePr>
          <p:nvPr>
            <p:extLst>
              <p:ext uri="{D42A27DB-BD31-4B8C-83A1-F6EECF244321}">
                <p14:modId xmlns:p14="http://schemas.microsoft.com/office/powerpoint/2010/main" val="1163334207"/>
              </p:ext>
            </p:extLst>
          </p:nvPr>
        </p:nvGraphicFramePr>
        <p:xfrm>
          <a:off x="4843604" y="1050254"/>
          <a:ext cx="3766996" cy="533243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9A024ED8-53D7-ADEF-B28C-02EBDDF5124C}"/>
              </a:ext>
            </a:extLst>
          </p:cNvPr>
          <p:cNvGraphicFramePr>
            <a:graphicFrameLocks/>
          </p:cNvGraphicFramePr>
          <p:nvPr>
            <p:extLst>
              <p:ext uri="{D42A27DB-BD31-4B8C-83A1-F6EECF244321}">
                <p14:modId xmlns:p14="http://schemas.microsoft.com/office/powerpoint/2010/main" val="3029506952"/>
              </p:ext>
            </p:extLst>
          </p:nvPr>
        </p:nvGraphicFramePr>
        <p:xfrm>
          <a:off x="420239" y="1050253"/>
          <a:ext cx="3697596" cy="548607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clear </a:t>
            </a:r>
            <a:r>
              <a:rPr lang="en-GB" sz="1200" b="1" i="1" dirty="0"/>
              <a:t>economies of scale</a:t>
            </a:r>
            <a:r>
              <a:rPr lang="en-GB" sz="1200" b="1" dirty="0"/>
              <a:t> 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198975B4-C6A2-A671-987C-AD8608A702B9}"/>
              </a:ext>
            </a:extLst>
          </p:cNvPr>
          <p:cNvGraphicFramePr>
            <a:graphicFrameLocks/>
          </p:cNvGraphicFramePr>
          <p:nvPr>
            <p:extLst>
              <p:ext uri="{D42A27DB-BD31-4B8C-83A1-F6EECF244321}">
                <p14:modId xmlns:p14="http://schemas.microsoft.com/office/powerpoint/2010/main" val="2334765131"/>
              </p:ext>
            </p:extLst>
          </p:nvPr>
        </p:nvGraphicFramePr>
        <p:xfrm>
          <a:off x="152137" y="1034742"/>
          <a:ext cx="3921922"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4575F7E5-7223-D508-9613-14196C10BB33}"/>
              </a:ext>
            </a:extLst>
          </p:cNvPr>
          <p:cNvGraphicFramePr>
            <a:graphicFrameLocks/>
          </p:cNvGraphicFramePr>
          <p:nvPr>
            <p:extLst>
              <p:ext uri="{D42A27DB-BD31-4B8C-83A1-F6EECF244321}">
                <p14:modId xmlns:p14="http://schemas.microsoft.com/office/powerpoint/2010/main" val="763930457"/>
              </p:ext>
            </p:extLst>
          </p:nvPr>
        </p:nvGraphicFramePr>
        <p:xfrm>
          <a:off x="4301820" y="1034742"/>
          <a:ext cx="4226544"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FC60D1AE-A2F7-564E-2DC9-1EA9DA768574}"/>
              </a:ext>
            </a:extLst>
          </p:cNvPr>
          <p:cNvGraphicFramePr>
            <a:graphicFrameLocks/>
          </p:cNvGraphicFramePr>
          <p:nvPr>
            <p:extLst>
              <p:ext uri="{D42A27DB-BD31-4B8C-83A1-F6EECF244321}">
                <p14:modId xmlns:p14="http://schemas.microsoft.com/office/powerpoint/2010/main" val="3873294404"/>
              </p:ext>
            </p:extLst>
          </p:nvPr>
        </p:nvGraphicFramePr>
        <p:xfrm>
          <a:off x="2109423" y="3777942"/>
          <a:ext cx="4305669"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perspective, reveals two different patterns of elasticity where</a:t>
            </a:r>
            <a:br>
              <a:rPr lang="en-GB" sz="1400" b="1" dirty="0"/>
            </a:br>
            <a:r>
              <a:rPr lang="en-GB" sz="1400" b="1" dirty="0"/>
              <a:t>Soft Water tends to be relatively price inelastic with an average </a:t>
            </a:r>
            <a:r>
              <a:rPr lang="en-GB" sz="1400" b="1" dirty="0" err="1"/>
              <a:t>EoD</a:t>
            </a:r>
            <a:r>
              <a:rPr lang="en-GB" sz="1400" b="1" dirty="0"/>
              <a:t> of 0.47, whilst Hard Water is more representative of an elastic relationship with an average </a:t>
            </a:r>
            <a:r>
              <a:rPr lang="en-GB" sz="1400" b="1" dirty="0" err="1"/>
              <a:t>EoD</a:t>
            </a:r>
            <a:r>
              <a:rPr lang="en-GB" sz="1400" b="1" dirty="0"/>
              <a:t> of 3.05.</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0F763C4E-412E-03FC-9FC1-10931861DA31}"/>
              </a:ext>
            </a:extLst>
          </p:cNvPr>
          <p:cNvGraphicFramePr>
            <a:graphicFrameLocks/>
          </p:cNvGraphicFramePr>
          <p:nvPr>
            <p:extLst>
              <p:ext uri="{D42A27DB-BD31-4B8C-83A1-F6EECF244321}">
                <p14:modId xmlns:p14="http://schemas.microsoft.com/office/powerpoint/2010/main" val="3018651855"/>
              </p:ext>
            </p:extLst>
          </p:nvPr>
        </p:nvGraphicFramePr>
        <p:xfrm>
          <a:off x="67155" y="1192432"/>
          <a:ext cx="4287562"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D9C08053-A715-BB85-B3A7-6278C4EDE7FB}"/>
              </a:ext>
            </a:extLst>
          </p:cNvPr>
          <p:cNvGraphicFramePr>
            <a:graphicFrameLocks/>
          </p:cNvGraphicFramePr>
          <p:nvPr>
            <p:extLst>
              <p:ext uri="{D42A27DB-BD31-4B8C-83A1-F6EECF244321}">
                <p14:modId xmlns:p14="http://schemas.microsoft.com/office/powerpoint/2010/main" val="985935570"/>
              </p:ext>
            </p:extLst>
          </p:nvPr>
        </p:nvGraphicFramePr>
        <p:xfrm>
          <a:off x="4606723" y="1192432"/>
          <a:ext cx="415176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3396EFD0-162F-7408-D1A5-6D5367E2EE9B}"/>
              </a:ext>
            </a:extLst>
          </p:cNvPr>
          <p:cNvGraphicFramePr>
            <a:graphicFrameLocks/>
          </p:cNvGraphicFramePr>
          <p:nvPr>
            <p:extLst>
              <p:ext uri="{D42A27DB-BD31-4B8C-83A1-F6EECF244321}">
                <p14:modId xmlns:p14="http://schemas.microsoft.com/office/powerpoint/2010/main" val="549713824"/>
              </p:ext>
            </p:extLst>
          </p:nvPr>
        </p:nvGraphicFramePr>
        <p:xfrm>
          <a:off x="2336939" y="3935632"/>
          <a:ext cx="4287562"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4358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5482</TotalTime>
  <Words>375</Words>
  <Application>Microsoft Office PowerPoint</Application>
  <PresentationFormat>Custom</PresentationFormat>
  <Paragraphs>28</Paragraphs>
  <Slides>4</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8" baseType="lpstr">
      <vt:lpstr>Arial</vt:lpstr>
      <vt:lpstr>Calibri</vt:lpstr>
      <vt:lpstr>1_Synergy_CF_YNR013</vt:lpstr>
      <vt:lpstr>think-cell Slide</vt:lpstr>
      <vt:lpstr>With a estimated 22% reduction in Surjek’s Revenues ($44.5M) due to the Maintenance Outage, Quarter 4 presents the best balance of revenue-loss mitigation with respect to market pricing, as opposed to Quarter 1 which represents the highest demand (6832GL) and Water Balancing Market Prices ($84.91).</vt:lpstr>
      <vt:lpstr>Of the three Desalination Plants, all three remain profitable at current market prices by a favourable margin; Clearly Kootha is the most cost-effective $25/ML) followed by Jutik ($35/ML) and lastly Surjek ($54/ML) which is consistent across the July-2013 to June-2014 period. </vt:lpstr>
      <vt:lpstr>Contrasting the Cost to Produce against the Volume of Water Produced highlights clear economies of scale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Soft Water tends to be relatively price inelastic with an average EoD of 0.47, whilst Hard Water is more representative of an elastic relationship with an average EoD of 3.05.</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Brandon Chisnell</cp:lastModifiedBy>
  <cp:revision>74</cp:revision>
  <dcterms:created xsi:type="dcterms:W3CDTF">2020-04-12T13:23:13Z</dcterms:created>
  <dcterms:modified xsi:type="dcterms:W3CDTF">2023-09-12T18:02:42Z</dcterms:modified>
</cp:coreProperties>
</file>